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FF8989"/>
    <a:srgbClr val="F80000"/>
    <a:srgbClr val="7F0000"/>
    <a:srgbClr val="D1D1D1"/>
    <a:srgbClr val="A7A7A7"/>
    <a:srgbClr val="626262"/>
    <a:srgbClr val="F6F6F6"/>
    <a:srgbClr val="444444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09T09:40:33.964" v="45"/>
      <pc:docMkLst>
        <pc:docMk/>
      </pc:docMkLst>
      <pc:sldChg chg="modSp mod">
        <pc:chgData name="Weigel Stefan (PAR-EPS)" userId="fd3b2067-2981-4ad8-bf3a-d2e1004e4fa8" providerId="ADAL" clId="{A4CFA2F4-FF8D-446B-B271-6DF568DBEADA}" dt="2026-03-09T09:40:33.964" v="45"/>
        <pc:sldMkLst>
          <pc:docMk/>
          <pc:sldMk cId="1183644670" sldId="410"/>
        </pc:sldMkLst>
        <pc:graphicFrameChg chg="mod">
          <ac:chgData name="Weigel Stefan (PAR-EPS)" userId="fd3b2067-2981-4ad8-bf3a-d2e1004e4fa8" providerId="ADAL" clId="{A4CFA2F4-FF8D-446B-B271-6DF568DBEADA}" dt="2026-03-09T09:40:33.964" v="45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viamenti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3-49D9-42D7-BC29-03E1B0B07635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C$9:$C$13</c:f>
              <c:numCache>
                <c:formatCode>#,##0</c:formatCode>
                <c:ptCount val="5"/>
                <c:pt idx="0">
                  <c:v>4</c:v>
                </c:pt>
                <c:pt idx="1">
                  <c:v>7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i di veicoli ferroviari con il coinvolgimento di almeno una corsa treno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2-49D9-42D7-BC29-03E1B0B07635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D$9:$D$13</c:f>
              <c:numCache>
                <c:formatCode>#,##0</c:formatCode>
                <c:ptCount val="5"/>
                <c:pt idx="0">
                  <c:v>2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Incidenti presso passaggi a livello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1-49D9-42D7-BC29-03E1B0B07635}"/>
              </c:ext>
            </c:extLst>
          </c:dPt>
          <c:cat>
            <c:numRef>
              <c:f>data!$B$9:$B$13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data!$E$9:$E$13</c:f>
              <c:numCache>
                <c:formatCode>#,##0</c:formatCode>
                <c:ptCount val="5"/>
                <c:pt idx="0">
                  <c:v>14</c:v>
                </c:pt>
                <c:pt idx="1">
                  <c:v>15</c:v>
                </c:pt>
                <c:pt idx="2">
                  <c:v>17</c:v>
                </c:pt>
                <c:pt idx="3">
                  <c:v>23</c:v>
                </c:pt>
                <c:pt idx="4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5.8293719679379657E-2"/>
          <c:y val="0.75576889800818914"/>
          <c:w val="0.48403856624208641"/>
          <c:h val="0.12359035939467665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6176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62253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/>
            <a:t>Quantità </a:t>
          </a:r>
          <a:endParaRPr lang="it-CH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7218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906784" y="392032"/>
          <a:ext cx="131022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it-CH" sz="1100" noProof="0" dirty="0"/>
            <a:t>Quantità/mio di </a:t>
          </a:r>
          <a:r>
            <a:rPr lang="it-CH" sz="1100" noProof="0" dirty="0" err="1"/>
            <a:t>trkm</a:t>
          </a:r>
          <a:endParaRPr lang="it-CH" sz="1100" noProof="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9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Incidenti ferroviari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80080468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86173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57E05B7-75DA-43EA-078A-511A88F8FF31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Incidenti sull’infrastruttura delle FFS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B05003-CC8A-4D5B-859A-B7E09DBC9F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Incidenti ferroviar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identi ferroviari.</dc:title>
  <dc:creator>Meyer Raphael (KOM-PGA-VSF)</dc:creator>
  <cp:lastModifiedBy>Weigel Stefan (PAR-EPS)</cp:lastModifiedBy>
  <cp:revision>56</cp:revision>
  <dcterms:created xsi:type="dcterms:W3CDTF">2020-09-30T11:00:09Z</dcterms:created>
  <dcterms:modified xsi:type="dcterms:W3CDTF">2026-03-09T09:4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